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C4687E5-2E7C-41B1-84C7-6ECE6B38D6BB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3"/>
          <a:srcRect l="10284" r="10284"/>
          <a:stretch/>
        </p:blipFill>
        <p:spPr>
          <a:xfrm>
            <a:off x="25400" y="0"/>
            <a:ext cx="12192000" cy="685800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247 	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 </a:t>
            </a:r>
            <a:r>
              <a:rPr lang="en-US" dirty="0" err="1"/>
              <a:t>VishnuPrasath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DATA247 name&gt;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Details of Data247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aaS name&gt;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Briefly explain about the backend.</a:t>
            </a:r>
          </a:p>
          <a:p>
            <a:r>
              <a:rPr lang="en-GB" sz="1800" dirty="0"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247 is a on-demand data service platform providing carrier and Email to SMS gateway information to Email Verification and Do not call data  services.</a:t>
            </a:r>
            <a:endParaRPr lang="en-IN" sz="1800" dirty="0">
              <a:effectLst/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  <a:p>
            <a:r>
              <a:rPr lang="en-US" dirty="0"/>
              <a:t>Explain about the connector and its capabilities and how it will benefit the users.</a:t>
            </a:r>
          </a:p>
          <a:p>
            <a:r>
              <a:rPr lang="en-US" dirty="0"/>
              <a:t>This connector helps in providing the required details to users once the known information is entered along with the type of services like carriers, email , phone etc.</a:t>
            </a:r>
          </a:p>
          <a:p>
            <a:r>
              <a:rPr lang="en-US" dirty="0"/>
              <a:t>This helps users by providing the information what is required for instance if the user give a phone number the details about the owner will be displayed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Screenshot of workflow (with Response json)</a:t>
            </a:r>
            <a:endParaRPr lang="en-IN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B1D828E-E770-4192-AE9C-EBCC22E8930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1144684" y="1387475"/>
            <a:ext cx="9902631" cy="4665663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21</Words>
  <Application>Microsoft Office PowerPoint</Application>
  <PresentationFormat>Widescreen</PresentationFormat>
  <Paragraphs>25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Trebuchet MS</vt:lpstr>
      <vt:lpstr>Rubik</vt:lpstr>
      <vt:lpstr>Wingdings</vt:lpstr>
      <vt:lpstr>Symbol</vt:lpstr>
      <vt:lpstr>Software AG 2021</vt:lpstr>
      <vt:lpstr>DATA247  Provider</vt:lpstr>
      <vt:lpstr>&lt;DATA247 name&gt;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Rajasekaran, Vishnuprasath</cp:lastModifiedBy>
  <cp:revision>3</cp:revision>
  <dcterms:created xsi:type="dcterms:W3CDTF">2022-01-10T12:32:13Z</dcterms:created>
  <dcterms:modified xsi:type="dcterms:W3CDTF">2022-01-29T17:31:37Z</dcterms:modified>
</cp:coreProperties>
</file>